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9"/>
  </p:notesMasterIdLst>
  <p:sldIdLst>
    <p:sldId id="345" r:id="rId15"/>
    <p:sldId id="312" r:id="rId16"/>
    <p:sldId id="309" r:id="rId17"/>
    <p:sldId id="343" r:id="rId18"/>
    <p:sldId id="357" r:id="rId19"/>
    <p:sldId id="317" r:id="rId20"/>
    <p:sldId id="347" r:id="rId21"/>
    <p:sldId id="348" r:id="rId22"/>
    <p:sldId id="349" r:id="rId23"/>
    <p:sldId id="359" r:id="rId24"/>
    <p:sldId id="360" r:id="rId25"/>
    <p:sldId id="361" r:id="rId26"/>
    <p:sldId id="362" r:id="rId27"/>
    <p:sldId id="298" r:id="rId28"/>
  </p:sldIdLst>
  <p:sldSz cx="12198350" cy="6858000"/>
  <p:notesSz cx="6858000" cy="9144000"/>
  <p:custDataLst>
    <p:tags r:id="rId30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23" autoAdjust="0"/>
    <p:restoredTop sz="82743" autoAdjust="0"/>
  </p:normalViewPr>
  <p:slideViewPr>
    <p:cSldViewPr>
      <p:cViewPr>
        <p:scale>
          <a:sx n="75" d="100"/>
          <a:sy n="75" d="100"/>
        </p:scale>
        <p:origin x="-120" y="-29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4705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19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1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19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19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19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102, T2TRG, Montreal, Canad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s in Scripting </a:t>
            </a:r>
            <a:r>
              <a:rPr lang="en-US" dirty="0" smtClean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9807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more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schema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'{ "type": "number"}'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custom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observ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write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value :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write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980728"/>
            <a:ext cx="5875011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 example Thing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@contex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{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iotschema.org/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typ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teg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urrent counter value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example annotation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observ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write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(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set(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2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Scripting </a:t>
            </a:r>
            <a:r>
              <a:rPr lang="en-US" dirty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700808"/>
            <a:ext cx="5777290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then(td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introspection had to parse t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   // in application code</a:t>
            </a:r>
            <a:endParaRPr lang="en-US" sz="14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.then(res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console.info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.catch(err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invokeActio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catch(err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700808"/>
            <a:ext cx="5997522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then(td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 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// introspection support (type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desc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.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, …)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di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.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g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.then(res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console.info(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.catch(err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ctions.increment.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invok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catch(err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9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Overall</a:t>
            </a:r>
          </a:p>
          <a:p>
            <a:pPr lvl="1"/>
            <a:r>
              <a:rPr lang="en-US" dirty="0" smtClean="0"/>
              <a:t>Define test cases</a:t>
            </a:r>
          </a:p>
          <a:p>
            <a:pPr lvl="1"/>
            <a:r>
              <a:rPr lang="en-US" dirty="0" smtClean="0"/>
              <a:t>Provide test suite</a:t>
            </a:r>
          </a:p>
          <a:p>
            <a:r>
              <a:rPr lang="en-US" dirty="0" smtClean="0"/>
              <a:t>WoT Thing Description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Extend model to efficiently support read-/write-multiple interaction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Revisit Events to allow for input on subscribe (e.g., filters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model for security vocabula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Align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US" dirty="0" smtClean="0"/>
              <a:t> field with draft-</a:t>
            </a:r>
            <a:r>
              <a:rPr lang="en-US" dirty="0" err="1" smtClean="0"/>
              <a:t>ietf</a:t>
            </a:r>
            <a:r>
              <a:rPr lang="en-US" dirty="0" smtClean="0"/>
              <a:t>-core-links-</a:t>
            </a:r>
            <a:r>
              <a:rPr lang="en-US" dirty="0" err="1" smtClean="0"/>
              <a:t>json</a:t>
            </a:r>
            <a:endParaRPr lang="en-US" dirty="0" smtClean="0"/>
          </a:p>
          <a:p>
            <a:pPr lvl="2">
              <a:spcBef>
                <a:spcPts val="600"/>
              </a:spcBef>
            </a:pPr>
            <a:r>
              <a:rPr lang="en-US" dirty="0" smtClean="0"/>
              <a:t>Found issue with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type</a:t>
            </a:r>
            <a:r>
              <a:rPr lang="en-US" dirty="0" smtClean="0"/>
              <a:t> attribute lacking parameter support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llect more core vocabulary terms (e.g.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version</a:t>
            </a:r>
            <a:r>
              <a:rPr lang="en-US" dirty="0" smtClean="0"/>
              <a:t>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en-US" dirty="0" smtClean="0"/>
              <a:t>,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stModified</a:t>
            </a:r>
            <a:r>
              <a:rPr lang="en-US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IANA Considerations</a:t>
            </a:r>
          </a:p>
          <a:p>
            <a:pPr lvl="2">
              <a:spcBef>
                <a:spcPts val="600"/>
              </a:spcBef>
            </a:pP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49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WoT Scripting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Model read-/write-multiple interactions in the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discove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Define API errors</a:t>
            </a:r>
          </a:p>
          <a:p>
            <a:r>
              <a:rPr lang="en-US" dirty="0" smtClean="0"/>
              <a:t>WoT Binding Templat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reate extension point for hypermedia-driven Actions and Events</a:t>
            </a:r>
          </a:p>
          <a:p>
            <a:pPr lvl="2">
              <a:spcBef>
                <a:spcPts val="600"/>
              </a:spcBef>
            </a:pP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wot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</a:p>
          <a:p>
            <a:pPr lvl="2">
              <a:spcBef>
                <a:spcPts val="600"/>
              </a:spcBef>
            </a:pPr>
            <a:r>
              <a:rPr lang="de-DE" dirty="0" smtClean="0"/>
              <a:t>An alternative </a:t>
            </a:r>
            <a:r>
              <a:rPr lang="de-DE" dirty="0" err="1" smtClean="0"/>
              <a:t>may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RaL</a:t>
            </a:r>
            <a:r>
              <a:rPr lang="de-DE" dirty="0" smtClean="0"/>
              <a:t>, but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so </a:t>
            </a:r>
            <a:r>
              <a:rPr lang="de-DE" dirty="0" err="1" smtClean="0"/>
              <a:t>far</a:t>
            </a:r>
            <a:endParaRPr lang="en-US" dirty="0" smtClean="0"/>
          </a:p>
          <a:p>
            <a:r>
              <a:rPr lang="en-US" dirty="0" smtClean="0"/>
              <a:t>WoT Security and Privacy</a:t>
            </a:r>
          </a:p>
          <a:p>
            <a:pPr lvl="1"/>
            <a:r>
              <a:rPr lang="en-US" dirty="0" smtClean="0"/>
              <a:t>Refine initial but extensible security vocabulary (based on TD model)</a:t>
            </a:r>
          </a:p>
          <a:p>
            <a:pPr lvl="1"/>
            <a:r>
              <a:rPr lang="en-US" dirty="0" smtClean="0"/>
              <a:t>Finalize WG Note on “WoT Security and Privacy Considerations”</a:t>
            </a:r>
          </a:p>
          <a:p>
            <a:pPr lvl="1"/>
            <a:r>
              <a:rPr lang="en-US" dirty="0" smtClean="0"/>
              <a:t>Start a living WG Note on “WoT Security Best Practices”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9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Senior Research Scientist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Siemens AG</a:t>
            </a:r>
          </a:p>
          <a:p>
            <a:pPr marL="0" indent="0">
              <a:buNone/>
            </a:pPr>
            <a:r>
              <a:rPr lang="en-US" noProof="0" dirty="0" smtClean="0"/>
              <a:t>CT RDA IOT EWT-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2"/>
              </a:rPr>
              <a:t>matthias.kovatsch@siemens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3C Web of Things – Summary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849298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Counter fragmentation in the IoT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Web of Things (WoT) vs Internet of Things (IoT)</a:t>
            </a:r>
            <a:br>
              <a:rPr lang="en-US" noProof="0" dirty="0" smtClean="0"/>
            </a:br>
            <a:r>
              <a:rPr lang="en-US" noProof="0" dirty="0" smtClean="0"/>
              <a:t>is similar to World Wide Web vs Internet</a:t>
            </a:r>
          </a:p>
          <a:p>
            <a:pPr lvl="1"/>
            <a:endParaRPr lang="en-US" noProof="0" dirty="0" smtClean="0"/>
          </a:p>
          <a:p>
            <a:pPr lvl="1"/>
            <a:r>
              <a:rPr lang="en-US" noProof="0" dirty="0" smtClean="0"/>
              <a:t>Take patterns from the World Wide Web</a:t>
            </a:r>
            <a:br>
              <a:rPr lang="en-US" noProof="0" dirty="0" smtClean="0"/>
            </a:br>
            <a:r>
              <a:rPr lang="en-US" noProof="0" dirty="0" smtClean="0"/>
              <a:t>and adapt and apply them to the IoT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JSON, Schema, and Linked Data</a:t>
            </a:r>
          </a:p>
          <a:p>
            <a:pPr lvl="2"/>
            <a:r>
              <a:rPr lang="en-US" noProof="0" dirty="0" smtClean="0"/>
              <a:t>URIs and Media Types</a:t>
            </a:r>
          </a:p>
          <a:p>
            <a:pPr lvl="2"/>
            <a:r>
              <a:rPr lang="en-US" noProof="0" dirty="0" smtClean="0"/>
              <a:t>JavaScript runtim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By Describing and Complementing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Not competing with existing IoT standards,</a:t>
            </a:r>
            <a:br>
              <a:rPr lang="en-US" noProof="0" dirty="0" smtClean="0"/>
            </a:br>
            <a:r>
              <a:rPr lang="en-US" noProof="0" dirty="0" smtClean="0"/>
              <a:t>as not prescribing a full-stack solution</a:t>
            </a:r>
            <a:br>
              <a:rPr lang="en-US" noProof="0" dirty="0" smtClean="0"/>
            </a:br>
            <a:endParaRPr lang="en-US" noProof="0" dirty="0" smtClean="0"/>
          </a:p>
          <a:p>
            <a:pPr lvl="1"/>
            <a:r>
              <a:rPr lang="en-US" noProof="0" dirty="0" smtClean="0"/>
              <a:t>W3C WoT offers building blocks to pick</a:t>
            </a:r>
            <a:br>
              <a:rPr lang="en-US" noProof="0" dirty="0" smtClean="0"/>
            </a:br>
            <a:r>
              <a:rPr lang="en-US" noProof="0" dirty="0" smtClean="0"/>
              <a:t>that enable semantic interoperability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WoT Thing Description (TD)</a:t>
            </a:r>
          </a:p>
          <a:p>
            <a:pPr lvl="2"/>
            <a:r>
              <a:rPr lang="en-US" noProof="0" dirty="0" smtClean="0"/>
              <a:t>WoT Binding Templates</a:t>
            </a:r>
          </a:p>
          <a:p>
            <a:pPr lvl="2"/>
            <a:r>
              <a:rPr lang="en-US" noProof="0" dirty="0" smtClean="0"/>
              <a:t>WoT Scripting API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2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forma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 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6" grpId="0" animBg="1"/>
      <p:bldP spid="37" grpId="0" animBg="1"/>
      <p:bldP spid="38" grpId="0" animBg="1"/>
      <p:bldP spid="39" grpId="0" animBg="1"/>
      <p:bldP spid="43" grpId="0"/>
      <p:bldP spid="44" grpId="0" animBg="1"/>
      <p:bldP spid="53" grpId="0"/>
      <p:bldP spid="54" grpId="0" animBg="1"/>
      <p:bldP spid="61" grpId="0"/>
      <p:bldP spid="62" grpId="0" animBg="1"/>
      <p:bldP spid="63" grpId="0" animBg="1"/>
      <p:bldP spid="64" grpId="0" animBg="1"/>
      <p:bldP spid="66" grpId="0" animBg="1"/>
      <p:bldP spid="67" grpId="0" animBg="1"/>
      <p:bldP spid="65" grpId="0" animBg="1"/>
      <p:bldP spid="68" grpId="0" animBg="1"/>
      <p:bldP spid="69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smtClean="0"/>
              <a:t>Batteries </a:t>
            </a:r>
            <a:r>
              <a:rPr lang="en-US" dirty="0" smtClean="0"/>
              <a:t>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</a:t>
            </a:r>
            <a:r>
              <a:rPr lang="en-US" altLang="ja-JP" sz="20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auth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, …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7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8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0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9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chemeClr val="bg1"/>
                  </a:solidFill>
                </a:rPr>
                <a:t>2018</a:t>
              </a:r>
              <a:endParaRPr lang="en-US" altLang="de-DE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eb of Things 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5-26 June 2014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</a:t>
            </a:r>
            <a:r>
              <a:rPr lang="en-US" altLang="de-DE" dirty="0">
                <a:solidFill>
                  <a:srgbClr val="FFFFFF"/>
                </a:solidFill>
              </a:rPr>
              <a:t>Workshop</a:t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>
                <a:solidFill>
                  <a:srgbClr val="FFFFFF"/>
                </a:solidFill>
              </a:rPr>
              <a:t>Berlin, Germany</a:t>
            </a: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7 Dec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5 June 2018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001197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~ Mar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Release </a:t>
            </a:r>
            <a:r>
              <a:rPr lang="en-US" altLang="de-DE" dirty="0" smtClean="0">
                <a:solidFill>
                  <a:srgbClr val="FFFFFF"/>
                </a:solidFill>
              </a:rPr>
              <a:t>of Candidate</a:t>
            </a:r>
            <a:r>
              <a:rPr lang="en-US" altLang="de-DE" dirty="0">
                <a:solidFill>
                  <a:srgbClr val="FFFFFF"/>
                </a:solidFill>
              </a:rPr>
              <a:t/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commendation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 Aug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18860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Q2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WoT IG + WG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168624" y="2132856"/>
            <a:ext cx="0" cy="15239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86756" y="1714109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d to “Simplified TD” in March 2018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561266" cy="4525963"/>
          </a:xfrm>
        </p:spPr>
        <p:txBody>
          <a:bodyPr>
            <a:normAutofit/>
          </a:bodyPr>
          <a:lstStyle/>
          <a:p>
            <a:r>
              <a:rPr lang="en-US" b="1" dirty="0"/>
              <a:t>JSON-LD 1.1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Objects instead of </a:t>
            </a:r>
            <a:r>
              <a:rPr lang="en-US" dirty="0" smtClean="0"/>
              <a:t>arrays (“idiomatic JSON”)</a:t>
            </a:r>
            <a:endParaRPr lang="en-US" dirty="0"/>
          </a:p>
          <a:p>
            <a:pPr lvl="1"/>
            <a:r>
              <a:rPr lang="en-US" dirty="0"/>
              <a:t>Default values (e.g., </a:t>
            </a:r>
            <a:r>
              <a:rPr lang="en-US" sz="1800" dirty="0"/>
              <a:t>"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writable": fals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raming to serialize and </a:t>
            </a:r>
            <a:r>
              <a:rPr lang="en-US" dirty="0" smtClean="0"/>
              <a:t>preproces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Semantic annotations optional</a:t>
            </a:r>
          </a:p>
          <a:p>
            <a:pPr lvl="1"/>
            <a:r>
              <a:rPr lang="en-US" noProof="0" dirty="0" smtClean="0"/>
              <a:t>TDs can be treated as simple JSON </a:t>
            </a:r>
            <a:r>
              <a:rPr lang="en-US" noProof="0" dirty="0" smtClean="0"/>
              <a:t>format</a:t>
            </a:r>
          </a:p>
          <a:p>
            <a:pPr lvl="1"/>
            <a:r>
              <a:rPr lang="en-US" dirty="0"/>
              <a:t>New Media Type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endParaRPr lang="en-US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lvl="1"/>
            <a:r>
              <a:rPr lang="en-US" dirty="0"/>
              <a:t>Context and terms known via media type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JSON-LD keywords or processing required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LD convention of terms being </a:t>
            </a:r>
            <a:r>
              <a:rPr lang="en-US" noProof="0" dirty="0" smtClean="0"/>
              <a:t>singular</a:t>
            </a:r>
          </a:p>
          <a:p>
            <a:pPr lvl="1"/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propertie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ction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events</a:t>
            </a:r>
            <a:r>
              <a:rPr lang="en-US" sz="1800" dirty="0"/>
              <a:t> </a:t>
            </a:r>
            <a:r>
              <a:rPr lang="en-US" dirty="0"/>
              <a:t>on top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>
          <a:xfrm>
            <a:off x="6603231" y="1600201"/>
            <a:ext cx="5040560" cy="4525963"/>
          </a:xfrm>
        </p:spPr>
        <p:txBody>
          <a:bodyPr>
            <a:normAutofit/>
          </a:bodyPr>
          <a:lstStyle/>
          <a:p>
            <a:r>
              <a:rPr lang="en-US" dirty="0"/>
              <a:t>JSON Schema </a:t>
            </a:r>
            <a:r>
              <a:rPr lang="en-US" dirty="0" smtClean="0"/>
              <a:t>compatibility</a:t>
            </a:r>
            <a:endParaRPr lang="en-US" dirty="0"/>
          </a:p>
          <a:p>
            <a:pPr lvl="1"/>
            <a:r>
              <a:rPr lang="en-US" dirty="0"/>
              <a:t>Data schema syntax now also identical</a:t>
            </a:r>
          </a:p>
          <a:p>
            <a:pPr lvl="1"/>
            <a:r>
              <a:rPr lang="en-US" dirty="0"/>
              <a:t>Payloads can be validated directly with</a:t>
            </a:r>
            <a:br>
              <a:rPr lang="en-US" dirty="0"/>
            </a:br>
            <a:r>
              <a:rPr lang="en-US" dirty="0"/>
              <a:t>JSON Schema </a:t>
            </a:r>
            <a:r>
              <a:rPr lang="en-US" dirty="0" smtClean="0"/>
              <a:t>implementations</a:t>
            </a:r>
            <a:endParaRPr lang="en-US" noProof="0" dirty="0" smtClean="0"/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New terms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en-US" noProof="0" dirty="0" smtClean="0"/>
              <a:t> (as mandatory)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description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pport</a:t>
            </a:r>
          </a:p>
          <a:p>
            <a:pPr lvl="1"/>
            <a:r>
              <a:rPr lang="en-US" noProof="0" dirty="0" smtClean="0"/>
              <a:t>… collecting more</a:t>
            </a:r>
          </a:p>
          <a:p>
            <a:pPr lvl="1"/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2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s </a:t>
            </a:r>
            <a:r>
              <a:rPr lang="en-US" noProof="0" dirty="0" smtClean="0"/>
              <a:t>in “Simplified </a:t>
            </a:r>
            <a:r>
              <a:rPr lang="en-US" noProof="0" dirty="0"/>
              <a:t>TD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7062" y="8685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@context": "https</a:t>
            </a: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//./w3c-wot-td-context.jsonld</a:t>
            </a: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bas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lamp/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action": 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ma": { "type":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als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brightnes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tru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ger"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statu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868528"/>
            <a:ext cx="573099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id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urn:dev:ops:32473-smartlight-4711"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F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description": "Corner torchiere“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base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s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//servient.example.com/things/lamp/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n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brightnes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writable": true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statu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to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duration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o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duration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ctions/fade",</a:t>
            </a:r>
            <a:endParaRPr lang="en-US" sz="1400" b="1" noProof="0" dirty="0" smtClean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MediaType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3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423317"/>
            <a:ext cx="5705282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temperature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 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https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/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/overheated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423317"/>
            <a:ext cx="5658987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emperature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...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ubProtoco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ngPol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link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A27DC4FC-F9FA-4AC8-AAAA-729E607CE7E5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F14BB4E7-BF22-46E2-AA3C-1ABA12A0B021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0091252C-F36F-40C9-984C-22582B3E6FB3}">
  <ds:schemaRefs/>
</ds:datastoreItem>
</file>

<file path=customXml/itemProps6.xml><?xml version="1.0" encoding="utf-8"?>
<ds:datastoreItem xmlns:ds="http://schemas.openxmlformats.org/officeDocument/2006/customXml" ds:itemID="{B5096DD8-53C8-4E83-8664-FC4F8BE8B725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8699A006-2152-4093-B4FC-C6BF20D5E592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62</Words>
  <Application>Microsoft Office PowerPoint</Application>
  <PresentationFormat>Benutzerdefiniert</PresentationFormat>
  <Paragraphs>428</Paragraphs>
  <Slides>14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</vt:lpstr>
      <vt:lpstr>W3C WoT Update</vt:lpstr>
      <vt:lpstr>W3C Web of Things – Summary</vt:lpstr>
      <vt:lpstr>W3C Web of Things – Building Block Approach</vt:lpstr>
      <vt:lpstr>W3C Web of Things – Batteries Included</vt:lpstr>
      <vt:lpstr>W3C Web of Things – Timeline</vt:lpstr>
      <vt:lpstr>Changed to “Simplified TD” in March 2018</vt:lpstr>
      <vt:lpstr>Changes in “Simplified TD”</vt:lpstr>
      <vt:lpstr>Changes in “Simplified TD”</vt:lpstr>
      <vt:lpstr>Changes in “Simplified TD”</vt:lpstr>
      <vt:lpstr>Changes in Scripting API</vt:lpstr>
      <vt:lpstr>Changes in Scripting API</vt:lpstr>
      <vt:lpstr>W3C Web of Things – Todos until Release</vt:lpstr>
      <vt:lpstr>W3C Web of Things – Todos until Release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66</cp:revision>
  <dcterms:created xsi:type="dcterms:W3CDTF">2018-05-15T12:31:41Z</dcterms:created>
  <dcterms:modified xsi:type="dcterms:W3CDTF">2018-07-19T21:13:00Z</dcterms:modified>
</cp:coreProperties>
</file>